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 autoAdjust="0"/>
    <p:restoredTop sz="94660"/>
  </p:normalViewPr>
  <p:slideViewPr>
    <p:cSldViewPr>
      <p:cViewPr varScale="1">
        <p:scale>
          <a:sx n="172" d="100"/>
          <a:sy n="172" d="100"/>
        </p:scale>
        <p:origin x="32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54" d="100"/>
          <a:sy n="154" d="100"/>
        </p:scale>
        <p:origin x="46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946424"/>
            <a:ext cx="3332504" cy="96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1B92940-9DAF-0740-9B23-EA9DF4DC0A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EBB5A41-E83A-E841-A312-8F0477DC7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881F5E0-F810-3647-B6D9-F4764B3703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5C2D7F06-E6EB-D744-9144-B7333637D5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6D151A0-AA13-C947-8356-5696C46BD5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86DDA9D5-4101-354E-B579-F218E1EA7E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305C0C46-1322-7346-9C0F-BEAE73ABCF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B57C2F9-2552-8F46-96D0-2376B598CA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EA390C18-A193-B14D-A018-3BA0DFDD8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2E0AA4F0-EBBE-C048-A969-2FEAC2C965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E656B1EB-E293-DE44-B8E3-C0433EC94B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FA25847-7AED-C64D-9540-FC2F707BC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42DB46AE-0B9F-EE43-81F1-0EB87A264A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127AC05-AC5A-924E-8CAA-5FB2552DD3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0009D2B-BDA8-C04E-813D-9AFEA6EE70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34E3BA5-DEBC-DA47-A27F-DBFAED384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E73E1A0-08D7-A245-A078-BA58F15137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1864C167-F682-0148-9A6A-6ED5402085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526DCDAF-F195-E34B-8832-F12104A6D8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6C226B1-DCAF-BC41-864D-D94DF5AC5D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2915CB0-08E2-DE44-9514-5065FB0E0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946424"/>
            <a:ext cx="3332504" cy="96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3816984-EBA9-8D4C-9789-1B229A199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781D02FC-B78F-794A-BC2E-122F56D119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26DF24D-F351-0D4C-AF8B-A46DAF6E97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6F27B53-D559-2E4B-8526-9897880B80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E620CB5-20FE-D64B-AF02-76D12E2DFF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5D2CBDB4-7852-7E48-85EC-9EDB114B3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3368830-707E-FC45-978D-5ABAD9207C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2724E73B-375A-4842-A78F-66A7F65E26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68F758CB-0CC7-3C4D-A2CD-7896D5C1EE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8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C9CFF02-7B1C-4F49-BA89-9AF8D4A51A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0C84C3B-6A98-6247-98A3-D7454CF2B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5850DCF-DFBF-2649-B776-1175EAA736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547CE1A-7711-EA4C-B289-6BDAF2CAEC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369693F-82AE-F947-9FB7-F3DF39ED3A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229EB47-DAC9-384F-AB5F-0763477877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E620D834-190A-174B-9459-39056267CC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CD0BEC98-58BF-F94F-8661-867A36C4CF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13070" y="6227763"/>
            <a:ext cx="859966" cy="24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8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5C13445F-82C7-0448-9BD2-B09FBAD6B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4667"/>
            <a:ext cx="9137787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tx1"/>
                </a:solidFill>
              </a:rPr>
              <a:pPr/>
              <a:t>18/07/2019</a:t>
            </a:fld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sans arrière-pla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61F7289-E63A-3E4E-A514-A0EAE031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7175" y="2941646"/>
            <a:ext cx="3365500" cy="974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491</TotalTime>
  <Words>1561</Words>
  <Application>Microsoft Macintosh PowerPoint</Application>
  <PresentationFormat>Affichage à l'écran (4:3)</PresentationFormat>
  <Paragraphs>513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20</cp:revision>
  <dcterms:created xsi:type="dcterms:W3CDTF">2019-07-01T07:23:30Z</dcterms:created>
  <dcterms:modified xsi:type="dcterms:W3CDTF">2019-07-18T15:57:29Z</dcterms:modified>
</cp:coreProperties>
</file>